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59" r:id="rId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138" y="3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968E0-613A-4D96-A0D2-5586E2C67ACC}" type="datetimeFigureOut">
              <a:rPr lang="de-DE" smtClean="0"/>
              <a:t>14.02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7599A-96A5-4344-886B-A1DFB3FCF9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8860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968E0-613A-4D96-A0D2-5586E2C67ACC}" type="datetimeFigureOut">
              <a:rPr lang="de-DE" smtClean="0"/>
              <a:t>14.02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7599A-96A5-4344-886B-A1DFB3FCF9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01959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968E0-613A-4D96-A0D2-5586E2C67ACC}" type="datetimeFigureOut">
              <a:rPr lang="de-DE" smtClean="0"/>
              <a:t>14.02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7599A-96A5-4344-886B-A1DFB3FCF9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65190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968E0-613A-4D96-A0D2-5586E2C67ACC}" type="datetimeFigureOut">
              <a:rPr lang="de-DE" smtClean="0"/>
              <a:t>14.02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7599A-96A5-4344-886B-A1DFB3FCF9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9264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968E0-613A-4D96-A0D2-5586E2C67ACC}" type="datetimeFigureOut">
              <a:rPr lang="de-DE" smtClean="0"/>
              <a:t>14.02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7599A-96A5-4344-886B-A1DFB3FCF9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2453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968E0-613A-4D96-A0D2-5586E2C67ACC}" type="datetimeFigureOut">
              <a:rPr lang="de-DE" smtClean="0"/>
              <a:t>14.02.201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7599A-96A5-4344-886B-A1DFB3FCF9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873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968E0-613A-4D96-A0D2-5586E2C67ACC}" type="datetimeFigureOut">
              <a:rPr lang="de-DE" smtClean="0"/>
              <a:t>14.02.2017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7599A-96A5-4344-886B-A1DFB3FCF9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16576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968E0-613A-4D96-A0D2-5586E2C67ACC}" type="datetimeFigureOut">
              <a:rPr lang="de-DE" smtClean="0"/>
              <a:t>14.02.20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7599A-96A5-4344-886B-A1DFB3FCF9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96370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968E0-613A-4D96-A0D2-5586E2C67ACC}" type="datetimeFigureOut">
              <a:rPr lang="de-DE" smtClean="0"/>
              <a:t>14.02.2017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7599A-96A5-4344-886B-A1DFB3FCF9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8172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968E0-613A-4D96-A0D2-5586E2C67ACC}" type="datetimeFigureOut">
              <a:rPr lang="de-DE" smtClean="0"/>
              <a:t>14.02.201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7599A-96A5-4344-886B-A1DFB3FCF9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64520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968E0-613A-4D96-A0D2-5586E2C67ACC}" type="datetimeFigureOut">
              <a:rPr lang="de-DE" smtClean="0"/>
              <a:t>14.02.201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7599A-96A5-4344-886B-A1DFB3FCF9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5704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3968E0-613A-4D96-A0D2-5586E2C67ACC}" type="datetimeFigureOut">
              <a:rPr lang="de-DE" smtClean="0"/>
              <a:t>14.02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A7599A-96A5-4344-886B-A1DFB3FCF9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6174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3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3076575" y="931334"/>
            <a:ext cx="3132667" cy="5364665"/>
            <a:chOff x="4529667" y="931334"/>
            <a:chExt cx="3132667" cy="5364665"/>
          </a:xfrm>
        </p:grpSpPr>
        <p:sp>
          <p:nvSpPr>
            <p:cNvPr id="3" name="Rounded Rectangle 2"/>
            <p:cNvSpPr/>
            <p:nvPr/>
          </p:nvSpPr>
          <p:spPr>
            <a:xfrm>
              <a:off x="4529667" y="931334"/>
              <a:ext cx="3132667" cy="4995333"/>
            </a:xfrm>
            <a:prstGeom prst="roundRect">
              <a:avLst/>
            </a:prstGeom>
            <a:gradFill>
              <a:gsLst>
                <a:gs pos="0">
                  <a:schemeClr val="accent1">
                    <a:satMod val="105000"/>
                    <a:tint val="67000"/>
                    <a:alpha val="47000"/>
                    <a:lumMod val="85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</a:gradFill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Every Child on the</a:t>
              </a:r>
            </a:p>
            <a:p>
              <a:pPr algn="ctr"/>
              <a:r>
                <a:rPr lang="de-DE" dirty="0" smtClean="0"/>
                <a:t> ‚Road to Health‘ </a:t>
              </a:r>
            </a:p>
            <a:p>
              <a:pPr algn="just"/>
              <a:endParaRPr lang="de-DE" dirty="0"/>
            </a:p>
            <a:p>
              <a:pPr algn="just"/>
              <a:r>
                <a:rPr lang="de-DE" i="1" dirty="0" smtClean="0"/>
                <a:t>This page needs to be designed well with good &amp; simple graphics </a:t>
              </a:r>
            </a:p>
            <a:p>
              <a:pPr algn="just"/>
              <a:endParaRPr lang="de-DE" i="1" dirty="0"/>
            </a:p>
            <a:p>
              <a:pPr algn="just"/>
              <a:endParaRPr lang="de-DE" i="1" dirty="0" smtClean="0"/>
            </a:p>
            <a:p>
              <a:pPr algn="just"/>
              <a:endParaRPr lang="de-DE" i="1" dirty="0"/>
            </a:p>
            <a:p>
              <a:pPr algn="just"/>
              <a:endParaRPr lang="de-DE" i="1" dirty="0" smtClean="0"/>
            </a:p>
            <a:p>
              <a:pPr algn="just"/>
              <a:endParaRPr lang="de-DE" i="1" dirty="0"/>
            </a:p>
            <a:p>
              <a:pPr algn="just"/>
              <a:endParaRPr lang="de-DE" i="1" dirty="0" smtClean="0"/>
            </a:p>
            <a:p>
              <a:pPr algn="just"/>
              <a:endParaRPr lang="de-DE" i="1" dirty="0"/>
            </a:p>
            <a:p>
              <a:pPr algn="just"/>
              <a:endParaRPr lang="de-DE" i="1" dirty="0" smtClean="0"/>
            </a:p>
            <a:p>
              <a:pPr algn="just"/>
              <a:endParaRPr lang="de-DE" i="1" dirty="0"/>
            </a:p>
            <a:p>
              <a:pPr algn="just"/>
              <a:endParaRPr lang="de-DE" i="1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469467" y="5926667"/>
              <a:ext cx="1778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de-DE" dirty="0" smtClean="0"/>
                <a:t>Welcome Page</a:t>
              </a:r>
              <a:endParaRPr lang="de-DE" dirty="0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5267325" y="4029075"/>
              <a:ext cx="1714500" cy="340519"/>
            </a:xfrm>
            <a:prstGeom prst="roundRect">
              <a:avLst/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74000">
                  <a:schemeClr val="accent3">
                    <a:lumMod val="45000"/>
                    <a:lumOff val="55000"/>
                  </a:schemeClr>
                </a:gs>
                <a:gs pos="8300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just"/>
              <a:r>
                <a:rPr lang="de-DE" sz="1400" dirty="0" smtClean="0"/>
                <a:t>User name/ID</a:t>
              </a:r>
              <a:endParaRPr lang="de-DE" sz="1400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267325" y="4676775"/>
              <a:ext cx="1714500" cy="340519"/>
            </a:xfrm>
            <a:prstGeom prst="roundRect">
              <a:avLst/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74000">
                  <a:schemeClr val="accent3">
                    <a:lumMod val="45000"/>
                    <a:lumOff val="55000"/>
                  </a:schemeClr>
                </a:gs>
                <a:gs pos="8300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just"/>
              <a:r>
                <a:rPr lang="de-DE" sz="1400" dirty="0" smtClean="0"/>
                <a:t>Password</a:t>
              </a:r>
              <a:endParaRPr lang="de-DE" sz="1400" dirty="0"/>
            </a:p>
          </p:txBody>
        </p:sp>
      </p:grpSp>
      <p:sp>
        <p:nvSpPr>
          <p:cNvPr id="12" name="TextBox 5"/>
          <p:cNvSpPr txBox="1"/>
          <p:nvPr>
            <p:custDataLst>
              <p:tags r:id="rId1"/>
            </p:custDataLst>
          </p:nvPr>
        </p:nvSpPr>
        <p:spPr>
          <a:xfrm>
            <a:off x="6670675" y="2484678"/>
            <a:ext cx="2736850" cy="228869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28600" indent="-228600">
              <a:buClr>
                <a:srgbClr val="000000"/>
              </a:buClr>
              <a:buSzPts val="1600"/>
              <a:buFont typeface="Arial" panose="020B0604020202020204" pitchFamily="34" charset="0"/>
              <a:buChar char="•"/>
            </a:pPr>
            <a:r>
              <a:rPr lang="de-DE" sz="1600" dirty="0" smtClean="0"/>
              <a:t>Here we can check the ability to access through Adhaar.</a:t>
            </a:r>
          </a:p>
          <a:p>
            <a:pPr marL="228600" indent="-228600">
              <a:buClr>
                <a:srgbClr val="000000"/>
              </a:buClr>
              <a:buSzPts val="1600"/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28600" indent="-228600">
              <a:buClr>
                <a:srgbClr val="000000"/>
              </a:buClr>
              <a:buSzPts val="1600"/>
              <a:buFont typeface="Arial" panose="020B0604020202020204" pitchFamily="34" charset="0"/>
              <a:buChar char="•"/>
            </a:pPr>
            <a:r>
              <a:rPr lang="de-DE" sz="1600" dirty="0" smtClean="0"/>
              <a:t>If Adhaar access is possible, then with devices where biometric access is possible, we could use that to provide the access instead of the username and id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444983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151467" y="931334"/>
            <a:ext cx="9889067" cy="4995333"/>
            <a:chOff x="702733" y="745067"/>
            <a:chExt cx="9889067" cy="4995333"/>
          </a:xfrm>
        </p:grpSpPr>
        <p:sp>
          <p:nvSpPr>
            <p:cNvPr id="2" name="Rounded Rectangle 1"/>
            <p:cNvSpPr/>
            <p:nvPr/>
          </p:nvSpPr>
          <p:spPr>
            <a:xfrm>
              <a:off x="702733" y="745067"/>
              <a:ext cx="3132667" cy="499533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just"/>
              <a:endParaRPr lang="de-DE" sz="1200" dirty="0"/>
            </a:p>
            <a:p>
              <a:pPr algn="just"/>
              <a:endParaRPr lang="de-DE" sz="1200" dirty="0" smtClean="0"/>
            </a:p>
            <a:p>
              <a:pPr algn="just"/>
              <a:endParaRPr lang="de-DE" sz="1200" dirty="0"/>
            </a:p>
            <a:p>
              <a:pPr algn="just"/>
              <a:endParaRPr lang="de-DE" sz="1200" dirty="0" smtClean="0"/>
            </a:p>
            <a:p>
              <a:pPr algn="just"/>
              <a:endParaRPr lang="de-DE" sz="1200" dirty="0"/>
            </a:p>
            <a:p>
              <a:pPr algn="just"/>
              <a:endParaRPr lang="de-DE" sz="1200" dirty="0" smtClean="0"/>
            </a:p>
            <a:p>
              <a:pPr algn="just"/>
              <a:endParaRPr lang="de-DE" sz="1200" dirty="0"/>
            </a:p>
            <a:p>
              <a:pPr algn="just"/>
              <a:endParaRPr lang="de-DE" sz="1200" dirty="0" smtClean="0"/>
            </a:p>
            <a:p>
              <a:pPr algn="just"/>
              <a:endParaRPr lang="de-DE" sz="1200" dirty="0"/>
            </a:p>
            <a:p>
              <a:pPr algn="just"/>
              <a:endParaRPr lang="de-DE" sz="1200" dirty="0" smtClean="0"/>
            </a:p>
            <a:p>
              <a:pPr algn="just"/>
              <a:endParaRPr lang="de-DE" sz="1200" dirty="0"/>
            </a:p>
            <a:p>
              <a:pPr algn="just"/>
              <a:endParaRPr lang="de-DE" sz="1200" dirty="0" smtClean="0"/>
            </a:p>
            <a:p>
              <a:pPr algn="just"/>
              <a:endParaRPr lang="de-DE" sz="1200" dirty="0"/>
            </a:p>
            <a:p>
              <a:pPr algn="just"/>
              <a:endParaRPr lang="de-DE" sz="1200" dirty="0" smtClean="0"/>
            </a:p>
            <a:p>
              <a:pPr algn="just"/>
              <a:endParaRPr lang="de-DE" sz="1200" dirty="0"/>
            </a:p>
            <a:p>
              <a:pPr algn="just"/>
              <a:endParaRPr lang="de-DE" sz="1200" dirty="0" smtClean="0"/>
            </a:p>
            <a:p>
              <a:pPr algn="just"/>
              <a:endParaRPr lang="de-DE" sz="1200" dirty="0"/>
            </a:p>
            <a:p>
              <a:pPr algn="just"/>
              <a:endParaRPr lang="de-DE" sz="1200" dirty="0" smtClean="0"/>
            </a:p>
            <a:p>
              <a:endParaRPr lang="de-DE" sz="1200" dirty="0"/>
            </a:p>
          </p:txBody>
        </p:sp>
        <p:sp>
          <p:nvSpPr>
            <p:cNvPr id="3" name="Rounded Rectangle 2"/>
            <p:cNvSpPr/>
            <p:nvPr/>
          </p:nvSpPr>
          <p:spPr>
            <a:xfrm>
              <a:off x="4080933" y="745067"/>
              <a:ext cx="3132667" cy="499533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endParaRPr lang="de-DE" sz="1200"/>
            </a:p>
          </p:txBody>
        </p:sp>
        <p:sp>
          <p:nvSpPr>
            <p:cNvPr id="4" name="Rounded Rectangle 3"/>
            <p:cNvSpPr/>
            <p:nvPr/>
          </p:nvSpPr>
          <p:spPr>
            <a:xfrm>
              <a:off x="7459133" y="745067"/>
              <a:ext cx="3132667" cy="499533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endParaRPr lang="de-DE" sz="1200"/>
            </a:p>
          </p:txBody>
        </p:sp>
      </p:grpSp>
      <p:sp>
        <p:nvSpPr>
          <p:cNvPr id="31" name="Rounded Rectangle 30"/>
          <p:cNvSpPr/>
          <p:nvPr/>
        </p:nvSpPr>
        <p:spPr>
          <a:xfrm>
            <a:off x="1317625" y="1243012"/>
            <a:ext cx="2800350" cy="1328738"/>
          </a:xfrm>
          <a:prstGeom prst="roundRect">
            <a:avLst/>
          </a:prstGeom>
          <a:solidFill>
            <a:schemeClr val="bg1">
              <a:lumMod val="85000"/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de-DE" sz="1200" dirty="0" smtClean="0">
                <a:solidFill>
                  <a:schemeClr val="tx1"/>
                </a:solidFill>
              </a:rPr>
              <a:t>This area will provide the entire personal profile of the child/children in case of multiple children – so one user ID to manage multiple children, where each child can get a sub id? (age, gender, D.O.B, name, parents name, AWC, Asha.</a:t>
            </a:r>
            <a:endParaRPr lang="de-DE" sz="1200" i="1" dirty="0" smtClean="0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379134" y="5926667"/>
            <a:ext cx="1185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age 1</a:t>
            </a:r>
            <a:endParaRPr lang="de-DE" dirty="0"/>
          </a:p>
        </p:txBody>
      </p:sp>
      <p:sp>
        <p:nvSpPr>
          <p:cNvPr id="28" name="TextBox 27"/>
          <p:cNvSpPr txBox="1"/>
          <p:nvPr/>
        </p:nvSpPr>
        <p:spPr>
          <a:xfrm>
            <a:off x="5765800" y="5926667"/>
            <a:ext cx="1185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age 2</a:t>
            </a:r>
            <a:endParaRPr lang="de-DE" dirty="0"/>
          </a:p>
        </p:txBody>
      </p:sp>
      <p:sp>
        <p:nvSpPr>
          <p:cNvPr id="29" name="TextBox 28"/>
          <p:cNvSpPr txBox="1"/>
          <p:nvPr/>
        </p:nvSpPr>
        <p:spPr>
          <a:xfrm>
            <a:off x="9152466" y="5926667"/>
            <a:ext cx="1185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age 3</a:t>
            </a:r>
            <a:endParaRPr lang="de-DE" dirty="0"/>
          </a:p>
        </p:txBody>
      </p:sp>
      <p:sp>
        <p:nvSpPr>
          <p:cNvPr id="6" name="Oval 5"/>
          <p:cNvSpPr/>
          <p:nvPr/>
        </p:nvSpPr>
        <p:spPr>
          <a:xfrm>
            <a:off x="1641213" y="2682086"/>
            <a:ext cx="921808" cy="561974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600" b="1" dirty="0" smtClean="0"/>
              <a:t>Immunization Status</a:t>
            </a:r>
            <a:endParaRPr lang="de-DE" sz="600" b="1" dirty="0"/>
          </a:p>
        </p:txBody>
      </p:sp>
      <p:sp>
        <p:nvSpPr>
          <p:cNvPr id="19" name="Oval 18"/>
          <p:cNvSpPr/>
          <p:nvPr/>
        </p:nvSpPr>
        <p:spPr>
          <a:xfrm>
            <a:off x="2879991" y="2682086"/>
            <a:ext cx="921808" cy="561974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600" b="1" dirty="0" smtClean="0"/>
              <a:t>Nutrition Status</a:t>
            </a:r>
            <a:endParaRPr lang="de-DE" sz="600" b="1" dirty="0"/>
          </a:p>
        </p:txBody>
      </p:sp>
      <p:sp>
        <p:nvSpPr>
          <p:cNvPr id="20" name="Oval 19"/>
          <p:cNvSpPr/>
          <p:nvPr/>
        </p:nvSpPr>
        <p:spPr>
          <a:xfrm>
            <a:off x="2879991" y="3510031"/>
            <a:ext cx="921808" cy="561974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600" b="1" dirty="0" smtClean="0"/>
              <a:t>Reminders</a:t>
            </a:r>
            <a:endParaRPr lang="de-DE" sz="600" b="1" dirty="0"/>
          </a:p>
        </p:txBody>
      </p:sp>
      <p:sp>
        <p:nvSpPr>
          <p:cNvPr id="21" name="Oval 20"/>
          <p:cNvSpPr/>
          <p:nvPr/>
        </p:nvSpPr>
        <p:spPr>
          <a:xfrm>
            <a:off x="2879991" y="4258464"/>
            <a:ext cx="921808" cy="561974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600" b="1" dirty="0" smtClean="0"/>
              <a:t>Messages</a:t>
            </a:r>
            <a:endParaRPr lang="de-DE" sz="600" b="1" dirty="0"/>
          </a:p>
        </p:txBody>
      </p:sp>
      <p:sp>
        <p:nvSpPr>
          <p:cNvPr id="22" name="Rounded Rectangle 21"/>
          <p:cNvSpPr/>
          <p:nvPr/>
        </p:nvSpPr>
        <p:spPr>
          <a:xfrm>
            <a:off x="1317625" y="4899949"/>
            <a:ext cx="2800350" cy="759884"/>
          </a:xfrm>
          <a:prstGeom prst="roundRect">
            <a:avLst/>
          </a:prstGeom>
          <a:solidFill>
            <a:schemeClr val="bg1">
              <a:lumMod val="85000"/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alandar</a:t>
            </a:r>
            <a:endParaRPr lang="de-DE" sz="1200" i="1" dirty="0" smtClean="0">
              <a:solidFill>
                <a:schemeClr val="tx1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1641213" y="4258464"/>
            <a:ext cx="921808" cy="561974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600" b="1" dirty="0" smtClean="0"/>
              <a:t>Recording/</a:t>
            </a:r>
          </a:p>
          <a:p>
            <a:pPr algn="ctr"/>
            <a:r>
              <a:rPr lang="de-DE" sz="600" b="1" dirty="0" smtClean="0"/>
              <a:t>Tutorials</a:t>
            </a:r>
            <a:endParaRPr lang="de-DE" sz="600" b="1" dirty="0"/>
          </a:p>
        </p:txBody>
      </p:sp>
      <p:sp>
        <p:nvSpPr>
          <p:cNvPr id="24" name="Oval 23"/>
          <p:cNvSpPr/>
          <p:nvPr/>
        </p:nvSpPr>
        <p:spPr>
          <a:xfrm>
            <a:off x="1641213" y="3510031"/>
            <a:ext cx="921808" cy="561974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600" b="1" dirty="0" smtClean="0"/>
              <a:t>Health Index</a:t>
            </a:r>
            <a:endParaRPr lang="de-DE" sz="600" b="1" dirty="0"/>
          </a:p>
        </p:txBody>
      </p:sp>
      <p:sp>
        <p:nvSpPr>
          <p:cNvPr id="25" name="Rounded Rectangle 24"/>
          <p:cNvSpPr/>
          <p:nvPr/>
        </p:nvSpPr>
        <p:spPr>
          <a:xfrm>
            <a:off x="4695825" y="1264251"/>
            <a:ext cx="1295400" cy="2245779"/>
          </a:xfrm>
          <a:prstGeom prst="roundRect">
            <a:avLst/>
          </a:prstGeom>
          <a:solidFill>
            <a:schemeClr val="bg1">
              <a:lumMod val="85000"/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Measurement</a:t>
            </a:r>
            <a:endParaRPr lang="de-DE" sz="1200" i="1" dirty="0" smtClean="0">
              <a:solidFill>
                <a:schemeClr val="tx1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4695825" y="3664100"/>
            <a:ext cx="2665145" cy="1967158"/>
          </a:xfrm>
          <a:prstGeom prst="roundRect">
            <a:avLst/>
          </a:prstGeom>
          <a:solidFill>
            <a:schemeClr val="bg1">
              <a:lumMod val="85000"/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Data Point on Growth Chart – compared with Standard curve</a:t>
            </a:r>
            <a:endParaRPr lang="de-DE" sz="1200" i="1" dirty="0" smtClean="0">
              <a:solidFill>
                <a:schemeClr val="tx1"/>
              </a:solidFill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5991225" y="1847850"/>
            <a:ext cx="2228850" cy="95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/>
          <p:cNvSpPr/>
          <p:nvPr/>
        </p:nvSpPr>
        <p:spPr>
          <a:xfrm>
            <a:off x="8504766" y="1243012"/>
            <a:ext cx="1295400" cy="2245779"/>
          </a:xfrm>
          <a:prstGeom prst="roundRect">
            <a:avLst/>
          </a:prstGeom>
          <a:solidFill>
            <a:schemeClr val="bg1">
              <a:lumMod val="85000"/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How to Measure tutorial</a:t>
            </a:r>
            <a:endParaRPr lang="de-DE" sz="1200" i="1" dirty="0" smtClean="0">
              <a:solidFill>
                <a:schemeClr val="tx1"/>
              </a:solidFill>
            </a:endParaRPr>
          </a:p>
        </p:txBody>
      </p:sp>
      <p:sp>
        <p:nvSpPr>
          <p:cNvPr id="32" name="TextBox 5"/>
          <p:cNvSpPr txBox="1"/>
          <p:nvPr>
            <p:custDataLst>
              <p:tags r:id="rId1"/>
            </p:custDataLst>
          </p:nvPr>
        </p:nvSpPr>
        <p:spPr>
          <a:xfrm>
            <a:off x="4529667" y="405869"/>
            <a:ext cx="6510868" cy="489060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36000" tIns="36000" rIns="36000" bIns="36000" rtlCol="0">
            <a:spAutoFit/>
          </a:bodyPr>
          <a:lstStyle/>
          <a:p>
            <a:r>
              <a:rPr lang="de-DE" sz="1200" dirty="0" smtClean="0"/>
              <a:t>While measuring it springs between page 2 and Page 3 to provide a tutorial everytime on how to measure before the measurement is done and submitted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110259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61880be-95ec-4305-9b43-9a09993b7aab"/>
  <p:tag name="MIO_EK" val="8170"/>
  <p:tag name="MIO_UPDATE" val="True"/>
  <p:tag name="MIO_VERSION" val="30.06.2014 16:29:57"/>
  <p:tag name="MIO_DBID" val="ED9FF2F2-6643-46BA-B685-7D49126FFAFF"/>
  <p:tag name="EMPOWERBULLET" val="EMPOWERBULLE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61880be-95ec-4305-9b43-9a09993b7aab"/>
  <p:tag name="MIO_EK" val="8170"/>
  <p:tag name="MIO_UPDATE" val="True"/>
  <p:tag name="MIO_VERSION" val="30.06.2014 16:29:57"/>
  <p:tag name="MIO_DBID" val="ED9FF2F2-6643-46BA-B685-7D49126FFAFF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7</Words>
  <Application>Microsoft Office PowerPoint</Application>
  <PresentationFormat>Widescreen</PresentationFormat>
  <Paragraphs>51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PowerPoint Presentation</vt:lpstr>
      <vt:lpstr>PowerPoint Presentation</vt:lpstr>
    </vt:vector>
  </TitlesOfParts>
  <Company>Continental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hogaraju, Srikrishna</dc:creator>
  <cp:lastModifiedBy>Bhogaraju, Srikrishna</cp:lastModifiedBy>
  <cp:revision>8</cp:revision>
  <dcterms:created xsi:type="dcterms:W3CDTF">2017-02-14T09:04:11Z</dcterms:created>
  <dcterms:modified xsi:type="dcterms:W3CDTF">2017-02-14T09:49:12Z</dcterms:modified>
</cp:coreProperties>
</file>